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60" r:id="rId2"/>
    <p:sldId id="262" r:id="rId3"/>
    <p:sldId id="289" r:id="rId4"/>
    <p:sldId id="291" r:id="rId5"/>
    <p:sldId id="279" r:id="rId6"/>
    <p:sldId id="293" r:id="rId7"/>
    <p:sldId id="286" r:id="rId8"/>
    <p:sldId id="287" r:id="rId9"/>
    <p:sldId id="294" r:id="rId10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846"/>
    <a:srgbClr val="003760"/>
    <a:srgbClr val="386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28" autoAdjust="0"/>
    <p:restoredTop sz="94161" autoAdjust="0"/>
  </p:normalViewPr>
  <p:slideViewPr>
    <p:cSldViewPr>
      <p:cViewPr>
        <p:scale>
          <a:sx n="76" d="100"/>
          <a:sy n="76" d="100"/>
        </p:scale>
        <p:origin x="-1218" y="-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r>
            <a:rPr lang="ru-RU" sz="1200" b="1" dirty="0" smtClean="0"/>
            <a:t>Федеральный </a:t>
          </a:r>
        </a:p>
        <a:p>
          <a:r>
            <a:rPr lang="ru-RU" sz="1200" b="1" dirty="0" smtClean="0"/>
            <a:t>уровень</a:t>
          </a:r>
          <a:endParaRPr lang="ru-RU" sz="1200" b="1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FFC000">
            <a:alpha val="70000"/>
          </a:srgbClr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b="1" dirty="0" smtClean="0"/>
            <a:t>Уровень </a:t>
          </a:r>
          <a:r>
            <a:rPr lang="ru-RU" sz="1200" b="1" dirty="0"/>
            <a:t>организации</a:t>
          </a: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D30FED0-3145-489E-8DFD-D56D86DC39B4}" type="presOf" srcId="{F014B99B-BC0F-4D51-AA35-03139CBC5BDF}" destId="{158BBE6D-1C8E-4142-827F-B1B32D20364B}" srcOrd="1" destOrd="0" presId="urn:microsoft.com/office/officeart/2005/8/layout/pyramid1"/>
    <dgm:cxn modelId="{666BF6F7-FEB4-4CBB-8A11-B40B62F83C40}" type="presOf" srcId="{F014B99B-BC0F-4D51-AA35-03139CBC5BDF}" destId="{47753778-DDCD-4F66-8671-0963E55AC1AB}" srcOrd="0" destOrd="0" presId="urn:microsoft.com/office/officeart/2005/8/layout/pyramid1"/>
    <dgm:cxn modelId="{A30521D0-6286-4B2B-8C6E-EEA6CBC02C08}" type="presOf" srcId="{CBB2EDB4-08BF-49DB-9282-C363CE23E3D0}" destId="{7099C5AD-A666-455F-9144-31509FAE35F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178BB5E7-F917-4840-A9AD-CADBAD288B2F}" type="presOf" srcId="{8380A261-4409-4C6B-8A07-0D64C5422F6D}" destId="{EB789FCB-B92C-4A52-BB06-4A95FA62001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CDEDB156-7CF5-4F22-9056-47C832F33CC0}" type="presOf" srcId="{CBB2EDB4-08BF-49DB-9282-C363CE23E3D0}" destId="{8064A9E2-4365-4891-A563-4210D9FE6047}" srcOrd="1" destOrd="0" presId="urn:microsoft.com/office/officeart/2005/8/layout/pyramid1"/>
    <dgm:cxn modelId="{5132F9C9-263C-4EBB-B71A-CD6B28790572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093F8E0E-92A7-4A44-91E1-39958005D3AD}" type="presOf" srcId="{8380A261-4409-4C6B-8A07-0D64C5422F6D}" destId="{3405B94A-B110-4EB0-B99D-680A85764021}" srcOrd="0" destOrd="0" presId="urn:microsoft.com/office/officeart/2005/8/layout/pyramid1"/>
    <dgm:cxn modelId="{370A4991-80BB-4D3C-B09D-3772B7F8E47B}" type="presParOf" srcId="{8C222443-D6D5-437E-8A06-7845FF64044F}" destId="{8E592AC7-B094-488F-86DE-8B46AA43A5F7}" srcOrd="0" destOrd="0" presId="urn:microsoft.com/office/officeart/2005/8/layout/pyramid1"/>
    <dgm:cxn modelId="{4F2A2BC4-FD9C-41D9-BDFC-3716D1A9E9CA}" type="presParOf" srcId="{8E592AC7-B094-488F-86DE-8B46AA43A5F7}" destId="{47753778-DDCD-4F66-8671-0963E55AC1AB}" srcOrd="0" destOrd="0" presId="urn:microsoft.com/office/officeart/2005/8/layout/pyramid1"/>
    <dgm:cxn modelId="{A6EC0461-BEA5-4A8F-8A50-C51C29B15EEB}" type="presParOf" srcId="{8E592AC7-B094-488F-86DE-8B46AA43A5F7}" destId="{158BBE6D-1C8E-4142-827F-B1B32D20364B}" srcOrd="1" destOrd="0" presId="urn:microsoft.com/office/officeart/2005/8/layout/pyramid1"/>
    <dgm:cxn modelId="{68E3BF31-C629-4F3E-BB54-4B313BAAE3DF}" type="presParOf" srcId="{8C222443-D6D5-437E-8A06-7845FF64044F}" destId="{08609C55-E487-4600-AFD0-8994D3888F22}" srcOrd="1" destOrd="0" presId="urn:microsoft.com/office/officeart/2005/8/layout/pyramid1"/>
    <dgm:cxn modelId="{C38400C1-0642-4A80-9CCD-F2C34433DEC1}" type="presParOf" srcId="{08609C55-E487-4600-AFD0-8994D3888F22}" destId="{7099C5AD-A666-455F-9144-31509FAE35FB}" srcOrd="0" destOrd="0" presId="urn:microsoft.com/office/officeart/2005/8/layout/pyramid1"/>
    <dgm:cxn modelId="{960CD702-9F1A-45D7-9264-12AF606A5AFB}" type="presParOf" srcId="{08609C55-E487-4600-AFD0-8994D3888F22}" destId="{8064A9E2-4365-4891-A563-4210D9FE6047}" srcOrd="1" destOrd="0" presId="urn:microsoft.com/office/officeart/2005/8/layout/pyramid1"/>
    <dgm:cxn modelId="{839338CB-210F-4CCF-AEAA-A4F6C99A8682}" type="presParOf" srcId="{8C222443-D6D5-437E-8A06-7845FF64044F}" destId="{4E66420A-6794-4210-A8DC-A681DFE94B26}" srcOrd="2" destOrd="0" presId="urn:microsoft.com/office/officeart/2005/8/layout/pyramid1"/>
    <dgm:cxn modelId="{871AA676-1826-4FA7-AB6D-D8F1C2FC0263}" type="presParOf" srcId="{4E66420A-6794-4210-A8DC-A681DFE94B26}" destId="{3405B94A-B110-4EB0-B99D-680A85764021}" srcOrd="0" destOrd="0" presId="urn:microsoft.com/office/officeart/2005/8/layout/pyramid1"/>
    <dgm:cxn modelId="{B44536A3-8F1B-4AD2-ADD6-25787F90E384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870803" y="0"/>
          <a:ext cx="1870804" cy="1415050"/>
        </a:xfrm>
        <a:prstGeom prst="trapezoid">
          <a:avLst>
            <a:gd name="adj" fmla="val 66104"/>
          </a:avLst>
        </a:prstGeom>
        <a:solidFill>
          <a:schemeClr val="bg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</a:t>
          </a:r>
          <a:endParaRPr lang="ru-RU" sz="1200" b="1" kern="1200" dirty="0"/>
        </a:p>
      </dsp:txBody>
      <dsp:txXfrm>
        <a:off x="1870803" y="0"/>
        <a:ext cx="1870804" cy="1415050"/>
      </dsp:txXfrm>
    </dsp:sp>
    <dsp:sp modelId="{7099C5AD-A666-455F-9144-31509FAE35FB}">
      <dsp:nvSpPr>
        <dsp:cNvPr id="0" name=""/>
        <dsp:cNvSpPr/>
      </dsp:nvSpPr>
      <dsp:spPr>
        <a:xfrm>
          <a:off x="928704" y="1428762"/>
          <a:ext cx="3741608" cy="1415050"/>
        </a:xfrm>
        <a:prstGeom prst="trapezoid">
          <a:avLst>
            <a:gd name="adj" fmla="val 66104"/>
          </a:avLst>
        </a:prstGeom>
        <a:solidFill>
          <a:srgbClr val="FFC000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583485" y="1428762"/>
        <a:ext cx="2432045" cy="1415050"/>
      </dsp:txXfrm>
    </dsp:sp>
    <dsp:sp modelId="{3405B94A-B110-4EB0-B99D-680A85764021}">
      <dsp:nvSpPr>
        <dsp:cNvPr id="0" name=""/>
        <dsp:cNvSpPr/>
      </dsp:nvSpPr>
      <dsp:spPr>
        <a:xfrm>
          <a:off x="0" y="2816388"/>
          <a:ext cx="5612412" cy="1415050"/>
        </a:xfrm>
        <a:prstGeom prst="trapezoid">
          <a:avLst>
            <a:gd name="adj" fmla="val 66104"/>
          </a:avLst>
        </a:prstGeom>
        <a:solidFill>
          <a:schemeClr val="accent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 </a:t>
          </a:r>
          <a:r>
            <a:rPr lang="ru-RU" sz="1200" b="1" kern="1200" dirty="0"/>
            <a:t>организации</a:t>
          </a:r>
        </a:p>
      </dsp:txBody>
      <dsp:txXfrm>
        <a:off x="982172" y="2816388"/>
        <a:ext cx="3648067" cy="1415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jpeg"/><Relationship Id="rId5" Type="http://schemas.openxmlformats.org/officeDocument/2006/relationships/image" Target="../media/image9.emf"/><Relationship Id="rId10" Type="http://schemas.openxmlformats.org/officeDocument/2006/relationships/image" Target="../media/image1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8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60350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Паспорт проекта</a:t>
            </a:r>
            <a:r>
              <a:rPr lang="ru-RU" altLang="ru-RU" sz="18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</a:t>
            </a:r>
            <a:endParaRPr lang="ru-RU" sz="1800" b="1" dirty="0" smtClean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51520" y="3356992"/>
            <a:ext cx="8636000" cy="144792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85720" y="714356"/>
            <a:ext cx="178595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51520" y="4869160"/>
            <a:ext cx="8621713" cy="72007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323528" y="3429000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</a:rPr>
              <a:t>Обоснование выбора процесса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4869160"/>
            <a:ext cx="1225464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3071802" y="857232"/>
            <a:ext cx="571504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именование органа местного самоуправления: 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правление образования администрации </a:t>
            </a: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Яковлевского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городского округ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именование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дел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муниципальное бюджетное дошкольное образовательное  учреждение «Детский сад «Родничок» г. Строитель </a:t>
            </a: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Яковлевского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городского округа»</a:t>
            </a:r>
            <a:endParaRPr lang="ru-RU" sz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раницы процесса: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 поручения руководителя  сформировать личное дело воспитанника ДОО до сформированного личного дела воспитанника ДОО</a:t>
            </a:r>
          </a:p>
          <a:p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ата начала  проекта:</a:t>
            </a:r>
            <a:r>
              <a:rPr lang="ru-RU" sz="12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2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6.08.2019 </a:t>
            </a:r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.</a:t>
            </a:r>
          </a:p>
          <a:p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ата окончания проекта: </a:t>
            </a:r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	25.10.2019 г.</a:t>
            </a:r>
            <a:endParaRPr lang="ru-RU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63550" y="2848431"/>
            <a:ext cx="83153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/>
            <a:endParaRPr lang="ru-RU" sz="1400" dirty="0" smtClean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5720" y="4633972"/>
            <a:ext cx="8583643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smtClean="0"/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smtClean="0"/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smtClean="0"/>
          </a:p>
          <a:p>
            <a:r>
              <a:rPr lang="ru-RU" sz="1200" dirty="0" smtClean="0"/>
              <a:t>Сокращение времени  на ознакомление с нормативно-правовой документацией ДОО (в соответствии с «Законом об образовании в РФ»)  и заполнение форм заявлений с</a:t>
            </a:r>
            <a:r>
              <a:rPr lang="ru-RU" sz="1400" dirty="0" smtClean="0"/>
              <a:t> </a:t>
            </a:r>
            <a:r>
              <a:rPr lang="ru-RU" sz="1100" dirty="0" smtClean="0"/>
              <a:t>57,5 мин. - 82 мин.   до 26,5 мин. –  47  мин. </a:t>
            </a:r>
            <a:endParaRPr lang="ru-RU" sz="11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51521" y="5661248"/>
            <a:ext cx="8568952" cy="9110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5661248"/>
            <a:ext cx="157163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rgbClr val="FF0000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39552" y="5589240"/>
            <a:ext cx="836292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                                          </a:t>
            </a:r>
          </a:p>
          <a:p>
            <a:pPr>
              <a:defRPr/>
            </a:pPr>
            <a:endParaRPr lang="ru-RU" sz="1200" b="1" dirty="0"/>
          </a:p>
          <a:p>
            <a:pPr>
              <a:defRPr/>
            </a:pPr>
            <a:r>
              <a:rPr lang="ru-RU" sz="1200" b="1" dirty="0" smtClean="0"/>
              <a:t> </a:t>
            </a:r>
            <a:endParaRPr lang="ru-RU" sz="1200" b="1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  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sp>
        <p:nvSpPr>
          <p:cNvPr id="12290" name="Rectangle 2"/>
          <p:cNvSpPr>
            <a:spLocks noChangeArrowheads="1"/>
          </p:cNvSpPr>
          <p:nvPr/>
        </p:nvSpPr>
        <p:spPr bwMode="auto">
          <a:xfrm>
            <a:off x="642910" y="2596761"/>
            <a:ext cx="8249570" cy="2092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dirty="0" smtClean="0"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dirty="0" smtClean="0"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dirty="0" smtClean="0"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Times New Roman" pitchFamily="18" charset="0"/>
            </a:endParaRPr>
          </a:p>
          <a:p>
            <a:pPr fontAlgn="base" hangingPunct="0"/>
            <a:r>
              <a:rPr lang="ru-RU" sz="1200" dirty="0" smtClean="0"/>
              <a:t>1.  Длительный процесс знакомства  родителей (законных представителей) с нормативно-правовой документацией ДОО (в соответствии с «Законом об образовании в РФ») </a:t>
            </a:r>
          </a:p>
          <a:p>
            <a:pPr fontAlgn="base" hangingPunct="0"/>
            <a:r>
              <a:rPr lang="ru-RU" sz="1200" dirty="0" smtClean="0"/>
              <a:t>2.  Длительный процесс заполнения форм заявлений  </a:t>
            </a:r>
          </a:p>
          <a:p>
            <a:pPr fontAlgn="base" hangingPunct="0"/>
            <a:r>
              <a:rPr lang="ru-RU" sz="1200" dirty="0" smtClean="0"/>
              <a:t>3.  Нехватка времени у родителей (законных представителей)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12291" name="Rectangle 3"/>
          <p:cNvSpPr>
            <a:spLocks noChangeArrowheads="1"/>
          </p:cNvSpPr>
          <p:nvPr/>
        </p:nvSpPr>
        <p:spPr bwMode="auto">
          <a:xfrm>
            <a:off x="428596" y="5421581"/>
            <a:ext cx="821537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200" dirty="0" smtClean="0"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Times New Roman" pitchFamily="18" charset="0"/>
            </a:endParaRPr>
          </a:p>
          <a:p>
            <a:pPr lvl="0" fontAlgn="base"/>
            <a:r>
              <a:rPr lang="ru-RU" sz="1200" dirty="0" smtClean="0"/>
              <a:t>1. Созданный алгоритм приема родителей (законных представителей)  и обработки предоставленных документов для формирования личного дела воспитанника в ДОО.</a:t>
            </a:r>
          </a:p>
          <a:p>
            <a:r>
              <a:rPr lang="ru-RU" sz="1200" dirty="0" smtClean="0"/>
              <a:t>2. Повышение уровня  взаимодействия всех участников образовательных отношений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pic>
        <p:nvPicPr>
          <p:cNvPr id="3276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052736"/>
            <a:ext cx="2520280" cy="189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323528" y="3573016"/>
            <a:ext cx="8640960" cy="282502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41300" y="908720"/>
            <a:ext cx="8637588" cy="23762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17500" y="942058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428596" y="3786190"/>
            <a:ext cx="2214577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3707904" y="2852936"/>
            <a:ext cx="1440160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Е.А. Кулик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ведующий</a:t>
            </a: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563888" y="980728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796136" y="995562"/>
            <a:ext cx="2160240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sp>
        <p:nvSpPr>
          <p:cNvPr id="26" name="Rectangle 53"/>
          <p:cNvSpPr txBox="1">
            <a:spLocks noChangeArrowheads="1"/>
          </p:cNvSpPr>
          <p:nvPr/>
        </p:nvSpPr>
        <p:spPr bwMode="auto">
          <a:xfrm>
            <a:off x="6228184" y="2852936"/>
            <a:ext cx="1944216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И.С. </a:t>
            </a:r>
            <a:r>
              <a:rPr lang="ru-RU" altLang="ru-RU" sz="1000" kern="0" dirty="0" err="1" smtClean="0">
                <a:solidFill>
                  <a:srgbClr val="00295C"/>
                </a:solidFill>
              </a:rPr>
              <a:t>Ципа</a:t>
            </a:r>
            <a:r>
              <a:rPr lang="ru-RU" altLang="ru-RU" sz="1000" kern="0" dirty="0" smtClean="0">
                <a:solidFill>
                  <a:srgbClr val="00295C"/>
                </a:solidFill>
              </a:rPr>
              <a:t>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старший воспитатель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35" name="Rectangle 53"/>
          <p:cNvSpPr txBox="1">
            <a:spLocks noChangeArrowheads="1"/>
          </p:cNvSpPr>
          <p:nvPr/>
        </p:nvSpPr>
        <p:spPr bwMode="auto">
          <a:xfrm>
            <a:off x="395536" y="5949280"/>
            <a:ext cx="1800200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Ю.М. Росс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старшая </a:t>
            </a:r>
            <a:r>
              <a:rPr lang="ru-RU" altLang="ru-RU" sz="1000" kern="0" dirty="0" err="1" smtClean="0">
                <a:solidFill>
                  <a:srgbClr val="00295C"/>
                </a:solidFill>
              </a:rPr>
              <a:t>мед.сестра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41" name="Rectangle 53"/>
          <p:cNvSpPr txBox="1">
            <a:spLocks noChangeArrowheads="1"/>
          </p:cNvSpPr>
          <p:nvPr/>
        </p:nvSpPr>
        <p:spPr bwMode="auto">
          <a:xfrm>
            <a:off x="4788024" y="5877272"/>
            <a:ext cx="2000264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О.А. </a:t>
            </a:r>
            <a:r>
              <a:rPr lang="ru-RU" altLang="ru-RU" sz="1000" kern="0" dirty="0" err="1" smtClean="0">
                <a:solidFill>
                  <a:srgbClr val="00295C"/>
                </a:solidFill>
              </a:rPr>
              <a:t>Подзолкова</a:t>
            </a:r>
            <a:r>
              <a:rPr lang="ru-RU" altLang="ru-RU" sz="1000" kern="0" dirty="0" smtClean="0">
                <a:solidFill>
                  <a:srgbClr val="00295C"/>
                </a:solidFill>
              </a:rPr>
              <a:t>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педагог- психолог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46" name="Rectangle 53"/>
          <p:cNvSpPr txBox="1">
            <a:spLocks noChangeArrowheads="1"/>
          </p:cNvSpPr>
          <p:nvPr/>
        </p:nvSpPr>
        <p:spPr bwMode="auto">
          <a:xfrm>
            <a:off x="6660232" y="5877272"/>
            <a:ext cx="2143140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Т.В. Омельченко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воспитатель</a:t>
            </a:r>
            <a:endParaRPr lang="ru-RU" altLang="ru-RU" sz="1000" kern="0" dirty="0">
              <a:solidFill>
                <a:srgbClr val="00295C"/>
              </a:solidFill>
            </a:endParaRPr>
          </a:p>
        </p:txBody>
      </p:sp>
      <p:pic>
        <p:nvPicPr>
          <p:cNvPr id="21" name="Рисунок 20" descr="Безымянный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484784"/>
            <a:ext cx="2664296" cy="1800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" name="Рисунок 22" descr="КуликЕА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1196752"/>
            <a:ext cx="1296144" cy="16561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16216" y="1196752"/>
            <a:ext cx="1152128" cy="17062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48064" y="4149080"/>
            <a:ext cx="1152128" cy="17062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3568" y="4149080"/>
            <a:ext cx="1296144" cy="18171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4" descr="C:\Users\User\Pictures\Корякина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55776" y="4365104"/>
            <a:ext cx="1784714" cy="13385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7" name="TextBox 26"/>
          <p:cNvSpPr txBox="1"/>
          <p:nvPr/>
        </p:nvSpPr>
        <p:spPr>
          <a:xfrm>
            <a:off x="2267744" y="5733256"/>
            <a:ext cx="22322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5350">
              <a:buClr>
                <a:srgbClr val="002960"/>
              </a:buClr>
              <a:defRPr/>
            </a:pPr>
            <a:r>
              <a:rPr lang="ru-RU" altLang="ru-RU" sz="1000" kern="0" dirty="0" smtClean="0">
                <a:solidFill>
                  <a:srgbClr val="00295C"/>
                </a:solidFill>
                <a:latin typeface="Arial" panose="020B0604020202020204" pitchFamily="34" charset="0"/>
              </a:rPr>
              <a:t>Т.А. Корякина, ответственный за ведение сайта</a:t>
            </a:r>
          </a:p>
        </p:txBody>
      </p:sp>
      <p:pic>
        <p:nvPicPr>
          <p:cNvPr id="31745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36296" y="4149080"/>
            <a:ext cx="1170130" cy="16422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Прямоугольник 94"/>
          <p:cNvSpPr/>
          <p:nvPr/>
        </p:nvSpPr>
        <p:spPr>
          <a:xfrm>
            <a:off x="3635375" y="5013325"/>
            <a:ext cx="577850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1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179388" y="494188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9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6516688" y="342900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8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0" y="342900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6516688" y="1773238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211638" y="1773238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79388" y="17732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122488" y="35734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051050" y="1773238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5371" name="Заголовок 1"/>
          <p:cNvSpPr>
            <a:spLocks noGrp="1"/>
          </p:cNvSpPr>
          <p:nvPr>
            <p:ph type="title"/>
          </p:nvPr>
        </p:nvSpPr>
        <p:spPr>
          <a:xfrm>
            <a:off x="0" y="404664"/>
            <a:ext cx="9144000" cy="504056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sz="20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</a:t>
            </a: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altLang="ru-RU" sz="20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altLang="ru-RU" sz="2000" dirty="0" smtClean="0">
                <a:latin typeface="Times New Roman" pitchFamily="18" charset="0"/>
                <a:cs typeface="Times New Roman" pitchFamily="18" charset="0"/>
              </a:rPr>
            </a:br>
            <a:endParaRPr lang="ru-RU" altLang="ru-RU" sz="2000" dirty="0" smtClean="0"/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48AC72C4-23C2-476E-AA4E-23E61DF0E52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470900" cy="35877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endParaRPr lang="ru-RU" sz="2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3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979613" y="278130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0" name="Прямая соединительная линия 19"/>
          <p:cNvCxnSpPr>
            <a:stCxn id="10" idx="1"/>
            <a:endCxn id="10" idx="3"/>
          </p:cNvCxnSpPr>
          <p:nvPr/>
        </p:nvCxnSpPr>
        <p:spPr>
          <a:xfrm>
            <a:off x="5580063" y="5373688"/>
            <a:ext cx="576262" cy="777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Стрелка вправо 22"/>
          <p:cNvSpPr/>
          <p:nvPr/>
        </p:nvSpPr>
        <p:spPr>
          <a:xfrm>
            <a:off x="4067175" y="2781300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6300192" y="2780928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9" name="Стрелка вправо 28"/>
          <p:cNvSpPr/>
          <p:nvPr/>
        </p:nvSpPr>
        <p:spPr>
          <a:xfrm>
            <a:off x="8316416" y="2852936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87" name="TextBox 48"/>
          <p:cNvSpPr txBox="1">
            <a:spLocks noChangeArrowheads="1"/>
          </p:cNvSpPr>
          <p:nvPr/>
        </p:nvSpPr>
        <p:spPr bwMode="auto">
          <a:xfrm>
            <a:off x="0" y="6597650"/>
            <a:ext cx="48593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>
                <a:solidFill>
                  <a:srgbClr val="C00000"/>
                </a:solidFill>
                <a:latin typeface="Calibri" pitchFamily="34" charset="0"/>
              </a:rPr>
              <a:t>ВПП (время протекания процесса)  – 57.5 мин. - 82 мин.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4284663" y="35004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10" name="Пятно 1 60"/>
          <p:cNvSpPr/>
          <p:nvPr/>
        </p:nvSpPr>
        <p:spPr>
          <a:xfrm>
            <a:off x="5580063" y="5229225"/>
            <a:ext cx="576262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1" name="Пятно 1 60"/>
          <p:cNvSpPr/>
          <p:nvPr/>
        </p:nvSpPr>
        <p:spPr>
          <a:xfrm>
            <a:off x="5651500" y="5445125"/>
            <a:ext cx="431800" cy="43180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2" name="Пятно 1 60"/>
          <p:cNvSpPr/>
          <p:nvPr/>
        </p:nvSpPr>
        <p:spPr>
          <a:xfrm>
            <a:off x="5651500" y="5732463"/>
            <a:ext cx="431800" cy="3619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5651500" y="5949950"/>
            <a:ext cx="503238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/>
        </p:nvGraphicFramePr>
        <p:xfrm>
          <a:off x="227856" y="2132857"/>
          <a:ext cx="1751856" cy="128701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37261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ишел в ДОО с направлением из</a:t>
                      </a: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управления образования</a:t>
                      </a:r>
                      <a:endParaRPr lang="ru-RU" sz="10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 шага</a:t>
                      </a:r>
                    </a:p>
                    <a:p>
                      <a:pPr algn="ctr"/>
                      <a:r>
                        <a:rPr lang="ru-RU" sz="900" dirty="0" smtClean="0"/>
                        <a:t>0,5 – 1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8" name="Стрелка вправо 77"/>
          <p:cNvSpPr/>
          <p:nvPr/>
        </p:nvSpPr>
        <p:spPr>
          <a:xfrm>
            <a:off x="2122488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9" name="Стрелка вправо 78"/>
          <p:cNvSpPr/>
          <p:nvPr/>
        </p:nvSpPr>
        <p:spPr>
          <a:xfrm>
            <a:off x="34925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1" name="Стрелка вправо 80"/>
          <p:cNvSpPr/>
          <p:nvPr/>
        </p:nvSpPr>
        <p:spPr>
          <a:xfrm>
            <a:off x="6443663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3" name="Стрелка вправо 82"/>
          <p:cNvSpPr/>
          <p:nvPr/>
        </p:nvSpPr>
        <p:spPr>
          <a:xfrm>
            <a:off x="8675688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6" name="Стрелка вправо 85"/>
          <p:cNvSpPr/>
          <p:nvPr/>
        </p:nvSpPr>
        <p:spPr>
          <a:xfrm>
            <a:off x="3419872" y="5733256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7" name="Стрелка вправо 86"/>
          <p:cNvSpPr/>
          <p:nvPr/>
        </p:nvSpPr>
        <p:spPr>
          <a:xfrm>
            <a:off x="4283075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89" name="Таблица 88"/>
          <p:cNvGraphicFramePr>
            <a:graphicFrameLocks noGrp="1"/>
          </p:cNvGraphicFramePr>
          <p:nvPr/>
        </p:nvGraphicFramePr>
        <p:xfrm>
          <a:off x="6083300" y="5237163"/>
          <a:ext cx="3060700" cy="169353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060700"/>
              </a:tblGrid>
              <a:tr h="4960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Нет достаточного количества распечатанных бланков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Родитель (законный</a:t>
                      </a:r>
                      <a:r>
                        <a:rPr lang="ru-RU" alt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</a:t>
                      </a:r>
                      <a:r>
                        <a:rPr lang="ru-RU" alt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редставитель) не располагает временем</a:t>
                      </a:r>
                    </a:p>
                  </a:txBody>
                  <a:tcPr/>
                </a:tc>
              </a:tr>
              <a:tr h="9924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Невнимательность родителей при заполнении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dirty="0" smtClean="0">
                        <a:latin typeface="Times New Roman" pitchFamily="16" charset="0"/>
                        <a:cs typeface="Times New Roman" pitchFamily="16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6" charset="0"/>
                          <a:cs typeface="Times New Roman" pitchFamily="16" charset="0"/>
                        </a:rPr>
                        <a:t>Неправильно (не до конца) заполнены формы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dirty="0" smtClean="0">
                        <a:latin typeface="Times New Roman" pitchFamily="16" charset="0"/>
                        <a:cs typeface="Times New Roman" pitchFamily="16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6" charset="0"/>
                          <a:cs typeface="Times New Roman" pitchFamily="16" charset="0"/>
                        </a:rPr>
                        <a:t>Не предоставлены оригиналы документов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00" dirty="0" smtClean="0">
                        <a:latin typeface="Times New Roman" pitchFamily="16" charset="0"/>
                        <a:cs typeface="Times New Roman" pitchFamily="16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6" charset="0"/>
                          <a:cs typeface="Times New Roman" pitchFamily="16" charset="0"/>
                        </a:rPr>
                        <a:t>Не предоставлены копии документов</a:t>
                      </a:r>
                      <a:endParaRPr lang="ru-RU" altLang="ru-RU" sz="1000" b="0" kern="1200" dirty="0" smtClean="0">
                        <a:solidFill>
                          <a:schemeClr val="tx1"/>
                        </a:solidFill>
                        <a:latin typeface="Franklin Gothic Medium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4" name="Стрелка вправо 93"/>
          <p:cNvSpPr/>
          <p:nvPr/>
        </p:nvSpPr>
        <p:spPr>
          <a:xfrm>
            <a:off x="34925" y="5805264"/>
            <a:ext cx="216595" cy="14468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Прямоугольник 60"/>
          <p:cNvSpPr/>
          <p:nvPr/>
        </p:nvSpPr>
        <p:spPr>
          <a:xfrm>
            <a:off x="0" y="2132856"/>
            <a:ext cx="251520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5364088" y="5345832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23" name="Прямоугольник 54"/>
          <p:cNvSpPr>
            <a:spLocks noChangeArrowheads="1"/>
          </p:cNvSpPr>
          <p:nvPr/>
        </p:nvSpPr>
        <p:spPr bwMode="auto">
          <a:xfrm>
            <a:off x="5435600" y="4941888"/>
            <a:ext cx="3457575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/>
              <a:t>Условные обозначения:</a:t>
            </a:r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/>
        </p:nvGraphicFramePr>
        <p:xfrm>
          <a:off x="2267744" y="2132857"/>
          <a:ext cx="1751856" cy="128701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37261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уковод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ает поручение скомплектовать личное дело воспитанника</a:t>
                      </a:r>
                      <a:endParaRPr lang="ru-RU" sz="9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0,5-1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7" name="Таблица 56"/>
          <p:cNvGraphicFramePr>
            <a:graphicFrameLocks noGrp="1"/>
          </p:cNvGraphicFramePr>
          <p:nvPr/>
        </p:nvGraphicFramePr>
        <p:xfrm>
          <a:off x="4427984" y="2132856"/>
          <a:ext cx="1872208" cy="1371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72208"/>
              </a:tblGrid>
              <a:tr h="2286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</a:t>
                      </a:r>
                      <a:r>
                        <a:rPr lang="ru-RU" sz="900" baseline="0" dirty="0" smtClean="0"/>
                        <a:t>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знакомит родителей (законных  представителей) с нормативно-правовой</a:t>
                      </a:r>
                      <a:r>
                        <a:rPr lang="ru-RU" sz="9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документацией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ДОО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Выдает им  формы бланков  для заполнения </a:t>
                      </a:r>
                      <a:endParaRPr lang="en-US" sz="9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20  - 26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9" name="Таблица 58"/>
          <p:cNvGraphicFramePr>
            <a:graphicFrameLocks noGrp="1"/>
          </p:cNvGraphicFramePr>
          <p:nvPr/>
        </p:nvGraphicFramePr>
        <p:xfrm>
          <a:off x="6588224" y="2132856"/>
          <a:ext cx="1751856" cy="12801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2859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Род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  <a:p>
                      <a:pPr algn="ctr">
                        <a:defRPr/>
                      </a:pP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заполнение данных форм родителями  (законными представителями)  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25-30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5" name="Таблица 64"/>
          <p:cNvGraphicFramePr>
            <a:graphicFrameLocks noGrp="1"/>
          </p:cNvGraphicFramePr>
          <p:nvPr/>
        </p:nvGraphicFramePr>
        <p:xfrm>
          <a:off x="323528" y="3717032"/>
          <a:ext cx="1751856" cy="12954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286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</a:t>
                      </a:r>
                      <a:r>
                        <a:rPr lang="ru-RU" sz="900" baseline="0" dirty="0" smtClean="0"/>
                        <a:t>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роверка  заполненных бланков .В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то же время </a:t>
                      </a:r>
                      <a:r>
                        <a:rPr lang="ru-RU" sz="1000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ед.работник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роверяет медицинскую карту ребенка</a:t>
                      </a:r>
                      <a:r>
                        <a:rPr lang="en-US" sz="900" dirty="0" smtClean="0"/>
                        <a:t> 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 - 3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9" name="Пятно 1 60"/>
          <p:cNvSpPr/>
          <p:nvPr/>
        </p:nvSpPr>
        <p:spPr>
          <a:xfrm>
            <a:off x="2771775" y="342900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graphicFrame>
        <p:nvGraphicFramePr>
          <p:cNvPr id="72" name="Таблица 71"/>
          <p:cNvGraphicFramePr>
            <a:graphicFrameLocks noGrp="1"/>
          </p:cNvGraphicFramePr>
          <p:nvPr/>
        </p:nvGraphicFramePr>
        <p:xfrm>
          <a:off x="2483768" y="3861048"/>
          <a:ext cx="1751856" cy="990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</a:t>
                      </a:r>
                      <a:r>
                        <a:rPr lang="ru-RU" sz="900" baseline="0" dirty="0" smtClean="0"/>
                        <a:t>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сверяет копии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 документов с оригиналами 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2-4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4644008" y="3717032"/>
          <a:ext cx="1751856" cy="12954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</a:t>
                      </a:r>
                      <a:r>
                        <a:rPr lang="ru-RU" sz="900" baseline="0" dirty="0" smtClean="0"/>
                        <a:t>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ередает  руководителю договор </a:t>
                      </a:r>
                      <a:r>
                        <a:rPr lang="en-US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 копии документов</a:t>
                      </a: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 для заверения  подписью и печатью 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-2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5" name="Таблица 74"/>
          <p:cNvGraphicFramePr>
            <a:graphicFrameLocks noGrp="1"/>
          </p:cNvGraphicFramePr>
          <p:nvPr/>
        </p:nvGraphicFramePr>
        <p:xfrm>
          <a:off x="6804248" y="3717032"/>
          <a:ext cx="1895872" cy="136740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95872"/>
              </a:tblGrid>
              <a:tr h="30060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регистрирует договор между ДОО и родителями (законными представителями) в журнале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-2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/>
        </p:nvGraphicFramePr>
        <p:xfrm>
          <a:off x="251520" y="5301208"/>
          <a:ext cx="1440160" cy="990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40160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выдает расписку в получении документов 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0,5  - 1 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0" name="Пятно 1 60"/>
          <p:cNvSpPr/>
          <p:nvPr/>
        </p:nvSpPr>
        <p:spPr>
          <a:xfrm>
            <a:off x="4932363" y="177323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91" name="Пятно 1 60"/>
          <p:cNvSpPr/>
          <p:nvPr/>
        </p:nvSpPr>
        <p:spPr>
          <a:xfrm>
            <a:off x="611188" y="328453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graphicFrame>
        <p:nvGraphicFramePr>
          <p:cNvPr id="88" name="Таблица 87"/>
          <p:cNvGraphicFramePr>
            <a:graphicFrameLocks noGrp="1"/>
          </p:cNvGraphicFramePr>
          <p:nvPr/>
        </p:nvGraphicFramePr>
        <p:xfrm>
          <a:off x="3707904" y="5373216"/>
          <a:ext cx="1656184" cy="12954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56184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ередает приказ  на подпись руководителю, формирует личное дело воспитанника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3 – 7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0" name="Пятно 1 60"/>
          <p:cNvSpPr/>
          <p:nvPr/>
        </p:nvSpPr>
        <p:spPr>
          <a:xfrm>
            <a:off x="5651500" y="6237288"/>
            <a:ext cx="503238" cy="36036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7" name="Пятно 1 60"/>
          <p:cNvSpPr/>
          <p:nvPr/>
        </p:nvSpPr>
        <p:spPr>
          <a:xfrm>
            <a:off x="1403350" y="328453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85" name="Пятно 1 60"/>
          <p:cNvSpPr/>
          <p:nvPr/>
        </p:nvSpPr>
        <p:spPr>
          <a:xfrm>
            <a:off x="3563938" y="342900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2051050" y="5013325"/>
            <a:ext cx="577850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0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/>
        </p:nvGraphicFramePr>
        <p:xfrm>
          <a:off x="1979712" y="5301208"/>
          <a:ext cx="1535832" cy="12954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35832"/>
              </a:tblGrid>
              <a:tr h="21602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готовит проект приказа о зачислении ребенка в списки воспитанников  ДОО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3  - 5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4" name="Стрелка вправо 53"/>
          <p:cNvSpPr/>
          <p:nvPr/>
        </p:nvSpPr>
        <p:spPr>
          <a:xfrm>
            <a:off x="1691680" y="5733256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5" name="Пятно 1 60"/>
          <p:cNvSpPr/>
          <p:nvPr/>
        </p:nvSpPr>
        <p:spPr>
          <a:xfrm>
            <a:off x="5724525" y="177323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8" name="Пятно 1 60"/>
          <p:cNvSpPr/>
          <p:nvPr/>
        </p:nvSpPr>
        <p:spPr>
          <a:xfrm>
            <a:off x="5651500" y="6434138"/>
            <a:ext cx="504825" cy="42386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6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04800" y="260649"/>
            <a:ext cx="8686800" cy="1152127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</a:tabLst>
              <a:defRPr/>
            </a:pPr>
            <a:r>
              <a:rPr lang="ru-RU" sz="2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ирамида проблем процесса 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6A799DED-D176-4FC2-A0D6-85CC4C0D79A6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0" y="0"/>
            <a:ext cx="9144000" cy="124301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928662" y="2214554"/>
          <a:ext cx="5612412" cy="4245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3995936" y="2420888"/>
            <a:ext cx="1366837" cy="431800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Не выявлены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572000" y="3717032"/>
            <a:ext cx="1439863" cy="431800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Не выявлены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724128" y="4293096"/>
            <a:ext cx="3312368" cy="2088654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Нет достаточного количества распечатанных бланков;</a:t>
            </a:r>
          </a:p>
          <a:p>
            <a:pPr fontAlgn="auto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Родитель (законный представитель) не располагает временем</a:t>
            </a:r>
          </a:p>
          <a:p>
            <a:pPr fontAlgn="auto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Невнимательность родителей при заполнении;</a:t>
            </a:r>
          </a:p>
          <a:p>
            <a:pPr fontAlgn="auto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Неправильно (не до конца) заполнены формы;</a:t>
            </a:r>
          </a:p>
          <a:p>
            <a:pPr fontAlgn="auto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Не предоставлены оригиналы документов;</a:t>
            </a:r>
          </a:p>
          <a:p>
            <a:pPr fontAlgn="auto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Не предоставлены копии документов;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4787900" y="587692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15" name="Пятно 1 60"/>
          <p:cNvSpPr/>
          <p:nvPr/>
        </p:nvSpPr>
        <p:spPr>
          <a:xfrm>
            <a:off x="3851275" y="587692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6" name="Пятно 1 60"/>
          <p:cNvSpPr/>
          <p:nvPr/>
        </p:nvSpPr>
        <p:spPr>
          <a:xfrm>
            <a:off x="2771775" y="594995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Пятно 1 60"/>
          <p:cNvSpPr/>
          <p:nvPr/>
        </p:nvSpPr>
        <p:spPr>
          <a:xfrm>
            <a:off x="1835150" y="5300663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8" name="Пятно 1 60"/>
          <p:cNvSpPr/>
          <p:nvPr/>
        </p:nvSpPr>
        <p:spPr>
          <a:xfrm>
            <a:off x="1908175" y="587692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5076825" y="5229225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6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5</a:t>
            </a:fld>
            <a:endParaRPr lang="ru-RU" altLang="ru-RU" b="1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4282" y="836712"/>
            <a:ext cx="8696356" cy="576064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C00000"/>
                </a:solidFill>
              </a:rPr>
              <a:t>Анализ проблем </a:t>
            </a:r>
            <a:r>
              <a:rPr lang="ru-RU" sz="2000" b="1" dirty="0" smtClean="0">
                <a:solidFill>
                  <a:srgbClr val="C00000"/>
                </a:solidFill>
              </a:rPr>
              <a:t>процесса</a:t>
            </a:r>
            <a:br>
              <a:rPr lang="ru-RU" sz="2000" b="1" dirty="0" smtClean="0">
                <a:solidFill>
                  <a:srgbClr val="C00000"/>
                </a:solidFill>
              </a:rPr>
            </a:br>
            <a:r>
              <a:rPr lang="ru-RU" sz="20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</a:t>
            </a:r>
            <a:r>
              <a:rPr lang="ru-RU" altLang="ru-RU" sz="2000" dirty="0" smtClean="0"/>
              <a:t/>
            </a:r>
            <a:br>
              <a:rPr lang="ru-RU" altLang="ru-RU" sz="2000" dirty="0" smtClean="0"/>
            </a:br>
            <a:r>
              <a:rPr lang="ru-RU" sz="2000" b="1" dirty="0" smtClean="0">
                <a:solidFill>
                  <a:srgbClr val="C00000"/>
                </a:solidFill>
              </a:rPr>
              <a:t/>
            </a:r>
            <a:br>
              <a:rPr lang="ru-RU" sz="2000" b="1" dirty="0" smtClean="0">
                <a:solidFill>
                  <a:srgbClr val="C00000"/>
                </a:solidFill>
              </a:rPr>
            </a:br>
            <a:r>
              <a:rPr lang="ru-RU" sz="2000" b="1" dirty="0" smtClean="0">
                <a:solidFill>
                  <a:srgbClr val="C00000"/>
                </a:solidFill>
              </a:rPr>
              <a:t> </a:t>
            </a:r>
            <a:br>
              <a:rPr lang="ru-RU" sz="2000" b="1" dirty="0" smtClean="0">
                <a:solidFill>
                  <a:srgbClr val="C00000"/>
                </a:solidFill>
              </a:rPr>
            </a:b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107503" y="1909084"/>
            <a:ext cx="3312369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sz="12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ет достаточного количества распечатанных </a:t>
            </a:r>
          </a:p>
          <a:p>
            <a:pPr algn="ctr">
              <a:lnSpc>
                <a:spcPct val="80000"/>
              </a:lnSpc>
            </a:pPr>
            <a:r>
              <a:rPr lang="ru-RU" sz="12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бланков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643306" y="1709130"/>
            <a:ext cx="3111953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sz="12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algn="ctr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змещение бланков и образцов заполнения  заявлений на официальном сайте ДОО </a:t>
            </a:r>
            <a:endParaRPr lang="ru-RU" alt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just">
              <a:defRPr/>
            </a:pPr>
            <a:r>
              <a:rPr lang="ru-RU" sz="1200" dirty="0" smtClean="0"/>
              <a:t> </a:t>
            </a:r>
            <a:endParaRPr lang="ru-RU" sz="1200" dirty="0"/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18896" y="2034850"/>
            <a:ext cx="660660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0-15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39" name="Стрелка: вправо 3"/>
          <p:cNvSpPr/>
          <p:nvPr/>
        </p:nvSpPr>
        <p:spPr>
          <a:xfrm>
            <a:off x="350564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2669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107504" y="2723357"/>
            <a:ext cx="3312368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одитель  (законный представитель) не располагает временем</a:t>
            </a:r>
            <a:endParaRPr lang="ru-RU" sz="1200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635896" y="2579612"/>
            <a:ext cx="3240360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defRPr/>
            </a:pPr>
            <a:r>
              <a:rPr lang="ru-RU" altLang="ru-RU" sz="1200" dirty="0" smtClean="0">
                <a:latin typeface="Times New Roman" pitchFamily="18" charset="0"/>
                <a:cs typeface="Times New Roman" pitchFamily="18" charset="0"/>
              </a:rPr>
              <a:t>Заполнение форм по образцам на сайте ДОО в удобное время и направление заполненных форм на электронный адрес ДОО</a:t>
            </a: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918896" y="2790500"/>
            <a:ext cx="660660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5-10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50564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682669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130621" y="3536967"/>
            <a:ext cx="3478213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dirty="0" smtClean="0">
                <a:solidFill>
                  <a:srgbClr val="C00000"/>
                </a:solidFill>
                <a:latin typeface="Times New Roman" pitchFamily="16" charset="0"/>
                <a:cs typeface="Times New Roman" pitchFamily="16" charset="0"/>
              </a:rPr>
              <a:t>Невнимательность родителей при заполнении</a:t>
            </a:r>
            <a:endParaRPr lang="ru-RU" sz="1200" dirty="0" smtClean="0">
              <a:solidFill>
                <a:srgbClr val="C00000"/>
              </a:solidFill>
            </a:endParaRP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41120" y="3586138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-2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2787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4892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107504" y="4293096"/>
            <a:ext cx="3281362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dirty="0" smtClean="0">
                <a:solidFill>
                  <a:srgbClr val="C00000"/>
                </a:solidFill>
                <a:latin typeface="Times New Roman" pitchFamily="16" charset="0"/>
                <a:cs typeface="Times New Roman" pitchFamily="16" charset="0"/>
              </a:rPr>
              <a:t>Неправильно (не до конца) заполнены формы</a:t>
            </a:r>
            <a:endParaRPr lang="ru-RU" sz="1200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41120" y="4302274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-2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52787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4892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TextBox 41"/>
          <p:cNvSpPr txBox="1">
            <a:spLocks noChangeArrowheads="1"/>
          </p:cNvSpPr>
          <p:nvPr/>
        </p:nvSpPr>
        <p:spPr bwMode="auto">
          <a:xfrm>
            <a:off x="7941120" y="5066580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2-3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30621" y="4941168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5" name="Стрелка: вправо 3"/>
          <p:cNvSpPr/>
          <p:nvPr/>
        </p:nvSpPr>
        <p:spPr>
          <a:xfrm>
            <a:off x="3527871" y="510309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Стрелка: вправо 3"/>
          <p:cNvSpPr/>
          <p:nvPr/>
        </p:nvSpPr>
        <p:spPr>
          <a:xfrm>
            <a:off x="6848921" y="510309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107504" y="4980136"/>
            <a:ext cx="3425378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dirty="0" smtClean="0">
                <a:solidFill>
                  <a:srgbClr val="C00000"/>
                </a:solidFill>
                <a:latin typeface="Times New Roman" pitchFamily="16" charset="0"/>
                <a:cs typeface="Times New Roman" pitchFamily="16" charset="0"/>
              </a:rPr>
              <a:t>Не предоставлены оригиналы документов</a:t>
            </a:r>
            <a:endParaRPr lang="ru-RU" sz="1200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0" name="TextBox 41"/>
          <p:cNvSpPr txBox="1">
            <a:spLocks noChangeArrowheads="1"/>
          </p:cNvSpPr>
          <p:nvPr/>
        </p:nvSpPr>
        <p:spPr bwMode="auto">
          <a:xfrm>
            <a:off x="3832671" y="5684367"/>
            <a:ext cx="2944813" cy="759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200" dirty="0" smtClean="0">
                <a:latin typeface="Times New Roman" pitchFamily="16" charset="0"/>
                <a:cs typeface="Times New Roman" pitchFamily="16" charset="0"/>
              </a:rPr>
              <a:t>В электронном виде прикрепить копии  необходимых документов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>
              <a:lnSpc>
                <a:spcPct val="80000"/>
              </a:lnSpc>
            </a:pPr>
            <a:endParaRPr lang="ru-RU" sz="12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1" name="TextBox 41"/>
          <p:cNvSpPr txBox="1">
            <a:spLocks noChangeArrowheads="1"/>
          </p:cNvSpPr>
          <p:nvPr/>
        </p:nvSpPr>
        <p:spPr bwMode="auto">
          <a:xfrm>
            <a:off x="7941120" y="5858668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2-3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30621" y="5733256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6" name="Стрелка: вправо 3"/>
          <p:cNvSpPr/>
          <p:nvPr/>
        </p:nvSpPr>
        <p:spPr>
          <a:xfrm>
            <a:off x="3527871" y="589518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7" name="Стрелка: вправо 3"/>
          <p:cNvSpPr/>
          <p:nvPr/>
        </p:nvSpPr>
        <p:spPr>
          <a:xfrm>
            <a:off x="6848921" y="589518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3786182" y="3429000"/>
            <a:ext cx="30003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зработка шаблонов заполнения форм документов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851920" y="4221088"/>
            <a:ext cx="30003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верка заполненных бланков в электронном вариант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786182" y="4941168"/>
            <a:ext cx="30003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зработка памятки для родителей  о том, оригиналы каких документов необходимо предоставить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7504" y="5877272"/>
            <a:ext cx="339292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C00000"/>
                </a:solidFill>
                <a:latin typeface="Times New Roman" pitchFamily="16" charset="0"/>
                <a:cs typeface="Times New Roman" pitchFamily="16" charset="0"/>
              </a:rPr>
              <a:t>Не предоставлены копии документов</a:t>
            </a:r>
          </a:p>
        </p:txBody>
      </p:sp>
    </p:spTree>
    <p:extLst>
      <p:ext uri="{BB962C8B-B14F-4D97-AF65-F5344CB8AC3E}">
        <p14:creationId xmlns:p14="http://schemas.microsoft.com/office/powerpoint/2010/main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0" y="476672"/>
            <a:ext cx="9144000" cy="648072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</a:t>
            </a:r>
            <a:r>
              <a:rPr lang="ru-RU" sz="1600" dirty="0" smtClean="0">
                <a:ea typeface="Calibri" pitchFamily="34" charset="0"/>
                <a:cs typeface="Times New Roman" pitchFamily="18" charset="0"/>
              </a:rPr>
              <a:t/>
            </a:r>
            <a:br>
              <a:rPr lang="ru-RU" sz="1600" dirty="0" smtClean="0">
                <a:ea typeface="Calibri" pitchFamily="34" charset="0"/>
                <a:cs typeface="Times New Roman" pitchFamily="18" charset="0"/>
              </a:rPr>
            </a:br>
            <a:endParaRPr lang="ru-RU" sz="16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4303356A-A743-41F1-9B4F-887C7B60C7D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323850" y="0"/>
            <a:ext cx="8686800" cy="764704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18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целевого состояния процесса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6372225" y="33575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8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79388" y="32845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300788" y="1412875"/>
            <a:ext cx="503237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067175" y="1484313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79388" y="148431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195513" y="32845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979613" y="1557338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57" name="Стрелка вправо 56"/>
          <p:cNvSpPr/>
          <p:nvPr/>
        </p:nvSpPr>
        <p:spPr>
          <a:xfrm>
            <a:off x="1979712" y="234888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9" name="Стрелка вправо 58"/>
          <p:cNvSpPr/>
          <p:nvPr/>
        </p:nvSpPr>
        <p:spPr>
          <a:xfrm>
            <a:off x="4067944" y="2492896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 вправо 59"/>
          <p:cNvSpPr/>
          <p:nvPr/>
        </p:nvSpPr>
        <p:spPr>
          <a:xfrm>
            <a:off x="6300192" y="2420888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 вправо 60"/>
          <p:cNvSpPr/>
          <p:nvPr/>
        </p:nvSpPr>
        <p:spPr>
          <a:xfrm>
            <a:off x="8243888" y="2943225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8456" name="TextBox 48"/>
          <p:cNvSpPr txBox="1">
            <a:spLocks noChangeArrowheads="1"/>
          </p:cNvSpPr>
          <p:nvPr/>
        </p:nvSpPr>
        <p:spPr bwMode="auto">
          <a:xfrm>
            <a:off x="0" y="6581775"/>
            <a:ext cx="46085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>
                <a:solidFill>
                  <a:srgbClr val="C00000"/>
                </a:solidFill>
                <a:latin typeface="Calibri" pitchFamily="34" charset="0"/>
              </a:rPr>
              <a:t>ВПП (время протекания процесса)  – 26,5 мин. – 47 мин.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4211638" y="32845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graphicFrame>
        <p:nvGraphicFramePr>
          <p:cNvPr id="67" name="Таблица 66"/>
          <p:cNvGraphicFramePr>
            <a:graphicFrameLocks noGrp="1"/>
          </p:cNvGraphicFramePr>
          <p:nvPr/>
        </p:nvGraphicFramePr>
        <p:xfrm>
          <a:off x="179512" y="1844824"/>
          <a:ext cx="1751856" cy="120243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8803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ишел в ДОО с направлением из</a:t>
                      </a: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управления образования</a:t>
                      </a:r>
                      <a:endParaRPr lang="ru-RU" sz="10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 шага</a:t>
                      </a:r>
                    </a:p>
                    <a:p>
                      <a:pPr algn="ctr"/>
                      <a:r>
                        <a:rPr lang="ru-RU" sz="900" dirty="0" smtClean="0"/>
                        <a:t>0,5 – 1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8" name="Стрелка вправо 67"/>
          <p:cNvSpPr/>
          <p:nvPr/>
        </p:nvSpPr>
        <p:spPr>
          <a:xfrm>
            <a:off x="2122488" y="4383088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9" name="Стрелка вправо 68"/>
          <p:cNvSpPr/>
          <p:nvPr/>
        </p:nvSpPr>
        <p:spPr>
          <a:xfrm>
            <a:off x="6372200" y="4077072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2" name="Стрелка вправо 71"/>
          <p:cNvSpPr/>
          <p:nvPr/>
        </p:nvSpPr>
        <p:spPr>
          <a:xfrm>
            <a:off x="4139952" y="414908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8388424" y="5085184"/>
            <a:ext cx="288032" cy="1530559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graphicFrame>
        <p:nvGraphicFramePr>
          <p:cNvPr id="80" name="Таблица 79"/>
          <p:cNvGraphicFramePr>
            <a:graphicFrameLocks noGrp="1"/>
          </p:cNvGraphicFramePr>
          <p:nvPr/>
        </p:nvGraphicFramePr>
        <p:xfrm>
          <a:off x="2267744" y="1916832"/>
          <a:ext cx="1751856" cy="120243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8803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уководитель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ает поручение скомплектовать личное дело воспитанника</a:t>
                      </a: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0,5-1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1" name="Таблица 80"/>
          <p:cNvGraphicFramePr>
            <a:graphicFrameLocks noGrp="1"/>
          </p:cNvGraphicFramePr>
          <p:nvPr/>
        </p:nvGraphicFramePr>
        <p:xfrm>
          <a:off x="4427984" y="1844824"/>
          <a:ext cx="1751856" cy="14782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8803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 (законный представитель)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71435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олняет формы</a:t>
                      </a: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</a:t>
                      </a:r>
                      <a:r>
                        <a:rPr lang="ru-RU" sz="900" b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зработанным шаблонам</a:t>
                      </a:r>
                      <a:r>
                        <a:rPr lang="ru-RU" sz="9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н</a:t>
                      </a:r>
                      <a:r>
                        <a:rPr lang="ru-RU" sz="9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авляет их на электронный адрес ДОО, прикрепляет копии документов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  <a:tr h="225151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Параметры</a:t>
                      </a:r>
                      <a:r>
                        <a:rPr lang="ru-RU" sz="8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800" dirty="0" smtClean="0"/>
                        <a:t>10 - 15 мин.</a:t>
                      </a:r>
                      <a:endParaRPr lang="ru-RU" sz="8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/>
        </p:nvGraphicFramePr>
        <p:xfrm>
          <a:off x="6732240" y="1772816"/>
          <a:ext cx="1751856" cy="1371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</a:t>
                      </a:r>
                      <a:r>
                        <a:rPr lang="ru-RU" sz="900" baseline="0" dirty="0" smtClean="0"/>
                        <a:t>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т правильность заполнения форм по электронным формам связи, распечатывает их и копии документов  </a:t>
                      </a:r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4- 6 мин.</a:t>
                      </a:r>
                      <a:endParaRPr lang="ru-RU" sz="9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3" name="Таблица 82"/>
          <p:cNvGraphicFramePr>
            <a:graphicFrameLocks noGrp="1"/>
          </p:cNvGraphicFramePr>
          <p:nvPr/>
        </p:nvGraphicFramePr>
        <p:xfrm>
          <a:off x="323528" y="3645025"/>
          <a:ext cx="1751856" cy="116320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3194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Родитель (законный представитель)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42632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ходит, предъявляет оригиналы документов</a:t>
                      </a:r>
                      <a:endParaRPr lang="ru-RU" sz="10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371116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</a:t>
                      </a:r>
                      <a:r>
                        <a:rPr lang="ru-RU" sz="900" baseline="0" dirty="0" smtClean="0"/>
                        <a:t> – 3 </a:t>
                      </a:r>
                      <a:r>
                        <a:rPr lang="ru-RU" sz="900" dirty="0" smtClean="0"/>
                        <a:t>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5" name="Таблица 84"/>
          <p:cNvGraphicFramePr>
            <a:graphicFrameLocks noGrp="1"/>
          </p:cNvGraphicFramePr>
          <p:nvPr/>
        </p:nvGraphicFramePr>
        <p:xfrm>
          <a:off x="2339752" y="3645024"/>
          <a:ext cx="1751856" cy="990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</a:t>
                      </a:r>
                      <a:r>
                        <a:rPr lang="ru-RU" sz="900" baseline="0" dirty="0" smtClean="0"/>
                        <a:t>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сверяет копии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 документов с оригиналами 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2-4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6" name="Таблица 85"/>
          <p:cNvGraphicFramePr>
            <a:graphicFrameLocks noGrp="1"/>
          </p:cNvGraphicFramePr>
          <p:nvPr/>
        </p:nvGraphicFramePr>
        <p:xfrm>
          <a:off x="4499992" y="3645024"/>
          <a:ext cx="1751856" cy="12954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</a:t>
                      </a:r>
                      <a:r>
                        <a:rPr lang="ru-RU" sz="900" baseline="0" dirty="0" smtClean="0"/>
                        <a:t>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ередает  руководителю договор </a:t>
                      </a:r>
                      <a:r>
                        <a:rPr lang="en-US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 копии документов</a:t>
                      </a: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 для заверения  подписью и печатью 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-2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7" name="Таблица 86"/>
          <p:cNvGraphicFramePr>
            <a:graphicFrameLocks noGrp="1"/>
          </p:cNvGraphicFramePr>
          <p:nvPr/>
        </p:nvGraphicFramePr>
        <p:xfrm>
          <a:off x="6732240" y="3717032"/>
          <a:ext cx="1751856" cy="131379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4699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регистрирует договор между ДОО и родителями (законными представителями) в журнале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-2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5" name="Прямоугольник 94"/>
          <p:cNvSpPr/>
          <p:nvPr/>
        </p:nvSpPr>
        <p:spPr>
          <a:xfrm>
            <a:off x="0" y="1772816"/>
            <a:ext cx="251520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339975" y="501332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9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443663" y="501332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1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284663" y="494188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0</a:t>
            </a:r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/>
        </p:nvGraphicFramePr>
        <p:xfrm>
          <a:off x="2339752" y="5373216"/>
          <a:ext cx="1751856" cy="990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1602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выдает расписку в получении документов 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0,5  - 1 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7" name="Таблица 36"/>
          <p:cNvGraphicFramePr>
            <a:graphicFrameLocks noGrp="1"/>
          </p:cNvGraphicFramePr>
          <p:nvPr/>
        </p:nvGraphicFramePr>
        <p:xfrm>
          <a:off x="6588224" y="5373216"/>
          <a:ext cx="1751856" cy="120243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8803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Ответственное лицо</a:t>
                      </a:r>
                    </a:p>
                  </a:txBody>
                  <a:tcPr/>
                </a:tc>
              </a:tr>
              <a:tr h="25220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ередает приказ  на подпись руководителю, формирует личное дело воспитанника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3 – 7 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8" name="Таблица 37"/>
          <p:cNvGraphicFramePr>
            <a:graphicFrameLocks noGrp="1"/>
          </p:cNvGraphicFramePr>
          <p:nvPr/>
        </p:nvGraphicFramePr>
        <p:xfrm>
          <a:off x="4427984" y="5373216"/>
          <a:ext cx="1751856" cy="11430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/>
              </a:tblGrid>
              <a:tr h="21602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dirty="0" smtClean="0"/>
                        <a:t>Ответственное лицо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</a:tr>
              <a:tr h="41947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готовит проект приказа о зачислении ребенка в списки воспитанников  ДОО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3  - 5 мин.</a:t>
                      </a:r>
                      <a:endParaRPr lang="ru-RU" sz="9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9" name="Стрелка вправо 38"/>
          <p:cNvSpPr/>
          <p:nvPr/>
        </p:nvSpPr>
        <p:spPr>
          <a:xfrm>
            <a:off x="4139952" y="580526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0" y="414908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Стрелка вправо 40"/>
          <p:cNvSpPr/>
          <p:nvPr/>
        </p:nvSpPr>
        <p:spPr>
          <a:xfrm>
            <a:off x="8604448" y="414908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2" name="Стрелка вправо 41"/>
          <p:cNvSpPr/>
          <p:nvPr/>
        </p:nvSpPr>
        <p:spPr>
          <a:xfrm>
            <a:off x="6228184" y="5877272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Стрелка вправо 42"/>
          <p:cNvSpPr/>
          <p:nvPr/>
        </p:nvSpPr>
        <p:spPr>
          <a:xfrm>
            <a:off x="8532440" y="234888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 вправо 43"/>
          <p:cNvSpPr/>
          <p:nvPr/>
        </p:nvSpPr>
        <p:spPr>
          <a:xfrm>
            <a:off x="1979712" y="5733256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TextBox 44"/>
          <p:cNvSpPr txBox="1"/>
          <p:nvPr/>
        </p:nvSpPr>
        <p:spPr>
          <a:xfrm>
            <a:off x="107504" y="5301208"/>
            <a:ext cx="1928826" cy="369332"/>
          </a:xfrm>
          <a:prstGeom prst="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Изменилось</a:t>
            </a:r>
            <a:endParaRPr lang="ru-RU" dirty="0"/>
          </a:p>
        </p:txBody>
      </p:sp>
      <p:sp>
        <p:nvSpPr>
          <p:cNvPr id="46" name="TextBox 45"/>
          <p:cNvSpPr txBox="1"/>
          <p:nvPr/>
        </p:nvSpPr>
        <p:spPr>
          <a:xfrm>
            <a:off x="107504" y="6021288"/>
            <a:ext cx="1928826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Не изменилос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79512" y="836712"/>
          <a:ext cx="8607330" cy="5472608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338988"/>
                <a:gridCol w="2553434"/>
                <a:gridCol w="1750231"/>
                <a:gridCol w="2964677"/>
              </a:tblGrid>
              <a:tr h="3600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52902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т достаточного количества распечатанных 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ланков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Размещение бланков и образцов заполнения  заявлений на официальном сайте ДОО </a:t>
                      </a:r>
                      <a:endParaRPr lang="ru-RU" altLang="ru-RU" sz="11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354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defRPr/>
                      </a:pPr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одитель  (законный представитель) не располагает временем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alt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Заполнение форм по образцам на сайте ДОО в удобное время и направление заполненных форм на электронный адрес ДОО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" name="Рисунок 5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40152" y="1412776"/>
            <a:ext cx="2736304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 descr="Похожее изображение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619672" y="4581128"/>
            <a:ext cx="2040528" cy="1418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8" descr="Похожее изображение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619672" y="1340768"/>
            <a:ext cx="2440940" cy="2440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 descr="C:\Users\User\AppData\Local\Microsoft\Windows\Temporary Internet Files\Content.Word\IMG_20191029_145849.jp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44208" y="3789040"/>
            <a:ext cx="1825653" cy="2433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42844" y="214288"/>
          <a:ext cx="8643998" cy="5889061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254538"/>
                <a:gridCol w="2654466"/>
                <a:gridCol w="1650074"/>
                <a:gridCol w="3084920"/>
              </a:tblGrid>
              <a:tr h="3756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5509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Times New Roman" pitchFamily="16" charset="0"/>
                          <a:cs typeface="Times New Roman" pitchFamily="16" charset="0"/>
                        </a:rPr>
                        <a:t>Невнимательность родителей при заполнении</a:t>
                      </a:r>
                      <a:endParaRPr lang="ru-RU" sz="11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Разработка шаблонов заполнения форм документов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238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Times New Roman" pitchFamily="16" charset="0"/>
                          <a:cs typeface="Times New Roman" pitchFamily="16" charset="0"/>
                        </a:rPr>
                        <a:t>Не предоставлены оригиналы документов</a:t>
                      </a:r>
                      <a:endParaRPr lang="ru-RU" sz="1100" dirty="0" smtClean="0">
                        <a:solidFill>
                          <a:srgbClr val="C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 smtClean="0">
                          <a:latin typeface="Times New Roman" pitchFamily="18" charset="0"/>
                          <a:cs typeface="Times New Roman" pitchFamily="18" charset="0"/>
                        </a:rPr>
                        <a:t>Разработка памятки для родителей  о том, оригиналы каких документов необходимо предоставить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5" name="Рисунок 4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868144" y="692696"/>
            <a:ext cx="2620783" cy="2097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7107" name="Object 3"/>
          <p:cNvGraphicFramePr>
            <a:graphicFrameLocks noChangeAspect="1"/>
          </p:cNvGraphicFramePr>
          <p:nvPr/>
        </p:nvGraphicFramePr>
        <p:xfrm>
          <a:off x="6228184" y="3284984"/>
          <a:ext cx="1944216" cy="27712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3" name="Acrobat Document" r:id="rId7" imgW="5505281" imgH="7848541" progId="AcroExch.Document.DC">
                  <p:embed/>
                </p:oleObj>
              </mc:Choice>
              <mc:Fallback>
                <p:oleObj name="Acrobat Document" r:id="rId7" imgW="5505281" imgH="7848541" progId="AcroExch.Document.DC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28184" y="3284984"/>
                        <a:ext cx="1944216" cy="277126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 descr="Похожее изображение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691680" y="620688"/>
            <a:ext cx="1916430" cy="2393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 descr="Похожее изображение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619672" y="3429000"/>
            <a:ext cx="1865410" cy="248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42844" y="214288"/>
          <a:ext cx="8643998" cy="4185509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254538"/>
                <a:gridCol w="2654466"/>
                <a:gridCol w="1650074"/>
                <a:gridCol w="3084920"/>
              </a:tblGrid>
              <a:tr h="3756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25290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Times New Roman" pitchFamily="16" charset="0"/>
                          <a:cs typeface="Times New Roman" pitchFamily="16" charset="0"/>
                        </a:rPr>
                        <a:t>Не предоставлены копии документов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 smtClean="0">
                          <a:latin typeface="Times New Roman" pitchFamily="16" charset="0"/>
                          <a:cs typeface="Times New Roman" pitchFamily="16" charset="0"/>
                        </a:rPr>
                        <a:t>В электронном виде прикрепить копии  необходимых документов</a:t>
                      </a:r>
                      <a:endParaRPr lang="ru-RU" sz="11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857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</a:t>
                      </a: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,5-82 </a:t>
                      </a: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3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– </a:t>
                      </a:r>
                      <a:endParaRPr lang="ru-RU" sz="1300" b="1" u="none" strike="noStrike" kern="1200" spc="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,5 - 47 </a:t>
                      </a: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759719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</a:t>
                      </a:r>
                      <a:endParaRPr lang="ru-RU" sz="1100" b="1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БДОУ</a:t>
                      </a:r>
                      <a:r>
                        <a:rPr lang="ru-RU" sz="1100" b="1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«Детский сад «Родничок» г. Строитель»</a:t>
                      </a:r>
                      <a:endParaRPr lang="ru-RU" sz="1100" dirty="0" smtClean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 82 </a:t>
                      </a:r>
                      <a:r>
                        <a:rPr lang="ru-RU" sz="11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ин. </a:t>
                      </a:r>
                      <a:r>
                        <a:rPr lang="ru-RU" sz="110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</a:t>
                      </a:r>
                      <a:r>
                        <a:rPr lang="ru-RU" sz="110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 </a:t>
                      </a:r>
                      <a:r>
                        <a:rPr lang="ru-RU" sz="11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1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8" name="Рисунок 7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75656" y="908720"/>
            <a:ext cx="2305878" cy="1667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Рисунок 8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24128" y="620688"/>
            <a:ext cx="2088232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 descr="C:\Users\User\AppData\Local\Microsoft\Windows\Temporary Internet Files\Content.Word\IMG-20191029-WA0023.jp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660232" y="1340768"/>
            <a:ext cx="2129588" cy="152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5</TotalTime>
  <Words>1104</Words>
  <Application>Microsoft Office PowerPoint</Application>
  <PresentationFormat>Экран (4:3)</PresentationFormat>
  <Paragraphs>287</Paragraphs>
  <Slides>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2" baseType="lpstr">
      <vt:lpstr>Тема Office</vt:lpstr>
      <vt:lpstr>think-cell Slide</vt:lpstr>
      <vt:lpstr>Acrobat Document</vt:lpstr>
      <vt:lpstr>Паспорт проекта 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</vt:lpstr>
      <vt:lpstr>Команда проекта </vt:lpstr>
      <vt:lpstr>    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    </vt:lpstr>
      <vt:lpstr>Пирамида проблем процесса 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</vt:lpstr>
      <vt:lpstr>Анализ проблем процесса 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    </vt:lpstr>
      <vt:lpstr> «Создание алгоритма приема родителей (законных представителей)  и обработки предоставленных документов для формирования личного дела воспитанника ДОО» </vt:lpstr>
      <vt:lpstr>Достигнутые результаты (было и стало)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Дасюша</cp:lastModifiedBy>
  <cp:revision>197</cp:revision>
  <cp:lastPrinted>2019-03-06T11:32:59Z</cp:lastPrinted>
  <dcterms:created xsi:type="dcterms:W3CDTF">2018-08-20T14:01:12Z</dcterms:created>
  <dcterms:modified xsi:type="dcterms:W3CDTF">2019-11-11T12:15:41Z</dcterms:modified>
</cp:coreProperties>
</file>